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E8AA5799-09BC-41FD-B930-813F1967927D}">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notesMaster" Target="notesMasters/notesMaster1.xml"/><Relationship Id="rId32" Type="http://schemas.openxmlformats.org/officeDocument/2006/relationships/presProps" Target="presProps.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36" Type="http://schemas.microsoft.com/office/2015/10/relationships/revisionInfo" Target="revisionInfo.xml"/><Relationship Id="rId3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65766</c:v>
                </c:pt>
                <c:pt idx="1">
                  <c:v>3.583542</c:v>
                </c:pt>
                <c:pt idx="2">
                  <c:v>2.66840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7</a:t>
                    </a:r>
                  </a:p>
                </c:rich>
              </c:tx>
              <c:dLblPos val="t"/>
              <c:showLegendKey val="0"/>
              <c:showVal val="1"/>
              <c:showCatName val="0"/>
              <c:showSerName val="0"/>
              <c:showPercent val="0"/>
              <c:showBubbleSize val="0"/>
            </c:dLbl>
            <c:dLbl>
              <c:idx val="1"/>
              <c:tx>
                <c:rich>
                  <a:bodyPr/>
                  <a:lstStyle/>
                  <a:p>
                    <a:r>
                      <a:t>2.27</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671</c:v>
                </c:pt>
                <c:pt idx="1">
                  <c:v>2.2737</c:v>
                </c:pt>
                <c:pt idx="2">
                  <c:v>3.489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1264</c:v>
                </c:pt>
                <c:pt idx="1">
                  <c:v>2.2737</c:v>
                </c:pt>
                <c:pt idx="2">
                  <c:v>3.789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28987</c:v>
                </c:pt>
                <c:pt idx="1">
                  <c:v>2.2737</c:v>
                </c:pt>
                <c:pt idx="2">
                  <c:v>3.639599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531193</c:v>
                </c:pt>
                <c:pt idx="1">
                  <c:v>0.11481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4</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44</c:v>
                </c:pt>
                <c:pt idx="1">
                  <c:v>3.653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44</c:v>
                </c:pt>
                <c:pt idx="1">
                  <c:v>3.91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44</c:v>
                </c:pt>
                <c:pt idx="1">
                  <c:v>3.78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7.948004</c:v>
                </c:pt>
                <c:pt idx="1">
                  <c:v>11.26118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3</a:t>
                    </a:r>
                  </a:p>
                </c:rich>
              </c:tx>
              <c:dLblPos val="t"/>
              <c:showLegendKey val="0"/>
              <c:showVal val="1"/>
              <c:showCatName val="0"/>
              <c:showSerName val="0"/>
              <c:showPercent val="0"/>
              <c:showBubbleSize val="0"/>
            </c:dLbl>
            <c:dLbl>
              <c:idx val="1"/>
              <c:tx>
                <c:rich>
                  <a:bodyPr/>
                  <a:lstStyle/>
                  <a:p>
                    <a:r>
                      <a:t>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268</c:v>
                </c:pt>
                <c:pt idx="1">
                  <c:v>4.698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3.524175</c:v>
                </c:pt>
                <c:pt idx="1">
                  <c:v>4.698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3.7754874999999997</c:v>
                </c:pt>
                <c:pt idx="1">
                  <c:v>4.69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1.242946</c:v>
                </c:pt>
                <c:pt idx="1">
                  <c:v>6.90901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5</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5</c:v>
                </c:pt>
                <c:pt idx="1">
                  <c:v>2.64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7651333333333332</c:v>
                </c:pt>
                <c:pt idx="1">
                  <c:v>2.64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075666666666664</c:v>
                </c:pt>
                <c:pt idx="1">
                  <c:v>2.64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2.0869</c:v>
                </c:pt>
                <c:pt idx="1">
                  <c:v>1.4320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9</a:t>
                    </a:r>
                  </a:p>
                </c:rich>
              </c:tx>
              <c:dLblPos val="t"/>
              <c:showLegendKey val="0"/>
              <c:showVal val="1"/>
              <c:showCatName val="0"/>
              <c:showSerName val="0"/>
              <c:showPercent val="0"/>
              <c:showBubbleSize val="0"/>
            </c:dLbl>
            <c:dLbl>
              <c:idx val="1"/>
              <c:tx>
                <c:rich>
                  <a:bodyPr/>
                  <a:lstStyle/>
                  <a:p>
                    <a:r>
                      <a:t>3.8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857</c:v>
                </c:pt>
                <c:pt idx="1">
                  <c:v>3.809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857</c:v>
                </c:pt>
                <c:pt idx="1">
                  <c:v>3.977119999999999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857</c:v>
                </c:pt>
                <c:pt idx="1">
                  <c:v>3.8932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1.173493</c:v>
                </c:pt>
                <c:pt idx="1">
                  <c:v>0.829673</c:v>
                </c:pt>
                <c:pt idx="2">
                  <c:v>1.8938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3</a:t>
                    </a:r>
                  </a:p>
                </c:rich>
              </c:tx>
              <c:dLblPos val="t"/>
              <c:showLegendKey val="0"/>
              <c:showVal val="1"/>
              <c:showCatName val="0"/>
              <c:showSerName val="0"/>
              <c:showPercent val="0"/>
              <c:showBubbleSize val="0"/>
            </c:dLbl>
            <c:dLbl>
              <c:idx val="1"/>
              <c:tx>
                <c:rich>
                  <a:bodyPr/>
                  <a:lstStyle/>
                  <a:p>
                    <a:r>
                      <a:t>3.02</a:t>
                    </a:r>
                  </a:p>
                </c:rich>
              </c:tx>
              <c:dLblPos val="t"/>
              <c:showLegendKey val="0"/>
              <c:showVal val="1"/>
              <c:showCatName val="0"/>
              <c:showSerName val="0"/>
              <c:showPercent val="0"/>
              <c:showBubbleSize val="0"/>
            </c:dLbl>
            <c:dLbl>
              <c:idx val="2"/>
              <c:tx>
                <c:rich>
                  <a:bodyPr/>
                  <a:lstStyle/>
                  <a:p>
                    <a:r>
                      <a:t>4.8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3298</c:v>
                </c:pt>
                <c:pt idx="1">
                  <c:v>3.0151</c:v>
                </c:pt>
                <c:pt idx="2">
                  <c:v>4.84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2.3298</c:v>
                </c:pt>
                <c:pt idx="1">
                  <c:v>3.4947000000000004</c:v>
                </c:pt>
                <c:pt idx="2">
                  <c:v>6.98940000000000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3298</c:v>
                </c:pt>
                <c:pt idx="1">
                  <c:v>3.2549</c:v>
                </c:pt>
                <c:pt idx="2">
                  <c:v>5.9161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64947</c:v>
                </c:pt>
                <c:pt idx="1">
                  <c:v>0.13336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a:t>
                    </a:r>
                  </a:p>
                </c:rich>
              </c:tx>
              <c:dLblPos val="t"/>
              <c:showLegendKey val="0"/>
              <c:showVal val="1"/>
              <c:showCatName val="0"/>
              <c:showSerName val="0"/>
              <c:showPercent val="0"/>
              <c:showBubbleSize val="0"/>
            </c:dLbl>
            <c:dLbl>
              <c:idx val="1"/>
              <c:tx>
                <c:rich>
                  <a:bodyPr/>
                  <a:lstStyle/>
                  <a:p>
                    <a:r>
                      <a:t>3.3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036</c:v>
                </c:pt>
                <c:pt idx="1">
                  <c:v>3.362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036</c:v>
                </c:pt>
                <c:pt idx="1">
                  <c:v>4.0380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036</c:v>
                </c:pt>
                <c:pt idx="1">
                  <c:v>3.7004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1.098878</c:v>
                </c:pt>
                <c:pt idx="1">
                  <c:v>0.45663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4</a:t>
                    </a:r>
                  </a:p>
                </c:rich>
              </c:tx>
              <c:dLblPos val="t"/>
              <c:showLegendKey val="0"/>
              <c:showVal val="1"/>
              <c:showCatName val="0"/>
              <c:showSerName val="0"/>
              <c:showPercent val="0"/>
              <c:showBubbleSize val="0"/>
            </c:dLbl>
            <c:dLbl>
              <c:idx val="1"/>
              <c:tx>
                <c:rich>
                  <a:bodyPr/>
                  <a:lstStyle/>
                  <a:p>
                    <a:r>
                      <a:t>3.6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375</c:v>
                </c:pt>
                <c:pt idx="1">
                  <c:v>3.63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375</c:v>
                </c:pt>
                <c:pt idx="1">
                  <c:v>4.06000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375</c:v>
                </c:pt>
                <c:pt idx="1">
                  <c:v>3.8462000000000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0.656315</c:v>
                </c:pt>
                <c:pt idx="1">
                  <c:v>1.133211</c:v>
                </c:pt>
                <c:pt idx="2">
                  <c:v>1.15893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1</a:t>
                    </a:r>
                  </a:p>
                </c:rich>
              </c:tx>
              <c:dLblPos val="t"/>
              <c:showLegendKey val="0"/>
              <c:showVal val="1"/>
              <c:showCatName val="0"/>
              <c:showSerName val="0"/>
              <c:showPercent val="0"/>
              <c:showBubbleSize val="0"/>
            </c:dLbl>
            <c:dLbl>
              <c:idx val="1"/>
              <c:tx>
                <c:rich>
                  <a:bodyPr/>
                  <a:lstStyle/>
                  <a:p>
                    <a:r>
                      <a:t>2.93</a:t>
                    </a:r>
                  </a:p>
                </c:rich>
              </c:tx>
              <c:dLblPos val="t"/>
              <c:showLegendKey val="0"/>
              <c:showVal val="1"/>
              <c:showCatName val="0"/>
              <c:showSerName val="0"/>
              <c:showPercent val="0"/>
              <c:showBubbleSize val="0"/>
            </c:dLbl>
            <c:dLbl>
              <c:idx val="2"/>
              <c:tx>
                <c:rich>
                  <a:bodyPr/>
                  <a:lstStyle/>
                  <a:p>
                    <a:r>
                      <a:t>5.0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093</c:v>
                </c:pt>
                <c:pt idx="1">
                  <c:v>2.9295</c:v>
                </c:pt>
                <c:pt idx="2">
                  <c:v>5.035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53</c:v>
                </c:pt>
                <c:pt idx="1">
                  <c:v>2.9295</c:v>
                </c:pt>
                <c:pt idx="2">
                  <c:v>5.85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8115</c:v>
                </c:pt>
                <c:pt idx="1">
                  <c:v>2.9295</c:v>
                </c:pt>
                <c:pt idx="2">
                  <c:v>5.447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644413</c:v>
                </c:pt>
                <c:pt idx="1">
                  <c:v>0.7920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7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4</c:v>
                </c:pt>
                <c:pt idx="1">
                  <c:v>3.74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4</c:v>
                </c:pt>
                <c:pt idx="1">
                  <c:v>3.867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4</c:v>
                </c:pt>
                <c:pt idx="1">
                  <c:v>3.8060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27098</c:v>
                </c:pt>
                <c:pt idx="1">
                  <c:v>0.848037</c:v>
                </c:pt>
                <c:pt idx="2">
                  <c:v>0.4875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4</a:t>
                    </a:r>
                  </a:p>
                </c:rich>
              </c:tx>
              <c:dLblPos val="t"/>
              <c:showLegendKey val="0"/>
              <c:showVal val="1"/>
              <c:showCatName val="0"/>
              <c:showSerName val="0"/>
              <c:showPercent val="0"/>
              <c:showBubbleSize val="0"/>
            </c:dLbl>
            <c:dLbl>
              <c:idx val="1"/>
              <c:tx>
                <c:rich>
                  <a:bodyPr/>
                  <a:lstStyle/>
                  <a:p>
                    <a:r>
                      <a:t>2.43</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45</c:v>
                </c:pt>
                <c:pt idx="1">
                  <c:v>2.4312</c:v>
                </c:pt>
                <c:pt idx="2">
                  <c:v>3.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9664</c:v>
                </c:pt>
                <c:pt idx="1">
                  <c:v>2.4312</c:v>
                </c:pt>
                <c:pt idx="2">
                  <c:v>4.0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3208199999999999</c:v>
                </c:pt>
                <c:pt idx="1">
                  <c:v>2.4312</c:v>
                </c:pt>
                <c:pt idx="2">
                  <c:v>3.76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3.513045</c:v>
                </c:pt>
                <c:pt idx="1">
                  <c:v>0.52267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3</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333</c:v>
                </c:pt>
                <c:pt idx="1">
                  <c:v>3.75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333</c:v>
                </c:pt>
                <c:pt idx="1">
                  <c:v>4.0532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333</c:v>
                </c:pt>
                <c:pt idx="1">
                  <c:v>3.905140000000000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789476</c:v>
                </c:pt>
                <c:pt idx="1">
                  <c:v>0.03351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5</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646</c:v>
                </c:pt>
                <c:pt idx="1">
                  <c:v>3.65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646</c:v>
                </c:pt>
                <c:pt idx="1">
                  <c:v>4.233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646</c:v>
                </c:pt>
                <c:pt idx="1">
                  <c:v>3.944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0.248199</c:v>
                </c:pt>
                <c:pt idx="1">
                  <c:v>0.02842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4</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363</c:v>
                </c:pt>
                <c:pt idx="1">
                  <c:v>3.939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363</c:v>
                </c:pt>
                <c:pt idx="1">
                  <c:v>5.787666666666666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363</c:v>
                </c:pt>
                <c:pt idx="1">
                  <c:v>4.86343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77061</c:v>
                </c:pt>
                <c:pt idx="1">
                  <c:v>0.01404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18</a:t>
                    </a:r>
                  </a:p>
                </c:rich>
              </c:tx>
              <c:dLblPos val="t"/>
              <c:showLegendKey val="0"/>
              <c:showVal val="1"/>
              <c:showCatName val="0"/>
              <c:showSerName val="0"/>
              <c:showPercent val="0"/>
              <c:showBubbleSize val="0"/>
            </c:dLbl>
            <c:dLbl>
              <c:idx val="1"/>
              <c:tx>
                <c:rich>
                  <a:bodyPr/>
                  <a:lstStyle/>
                  <a:p>
                    <a:r>
                      <a:t>3.0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1842</c:v>
                </c:pt>
                <c:pt idx="1">
                  <c:v>3.06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1842</c:v>
                </c:pt>
                <c:pt idx="1">
                  <c:v>3.669456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1842</c:v>
                </c:pt>
                <c:pt idx="1">
                  <c:v>3.36607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466417</c:v>
                </c:pt>
                <c:pt idx="1">
                  <c:v>1.6698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21</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2081</c:v>
                </c:pt>
                <c:pt idx="1">
                  <c:v>4.91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2081</c:v>
                </c:pt>
                <c:pt idx="1">
                  <c:v>5.61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2081</c:v>
                </c:pt>
                <c:pt idx="1">
                  <c:v>5.262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366465</c:v>
                </c:pt>
                <c:pt idx="1">
                  <c:v>0.33886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5</a:t>
                    </a:r>
                  </a:p>
                </c:rich>
              </c:tx>
              <c:dLblPos val="t"/>
              <c:showLegendKey val="0"/>
              <c:showVal val="1"/>
              <c:showCatName val="0"/>
              <c:showSerName val="0"/>
              <c:showPercent val="0"/>
              <c:showBubbleSize val="0"/>
            </c:dLbl>
            <c:dLbl>
              <c:idx val="1"/>
              <c:tx>
                <c:rich>
                  <a:bodyPr/>
                  <a:lstStyle/>
                  <a:p>
                    <a:r>
                      <a:t>4.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5</c:v>
                </c:pt>
                <c:pt idx="1">
                  <c:v>4.200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5</c:v>
                </c:pt>
                <c:pt idx="1">
                  <c:v>4.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5</c:v>
                </c:pt>
                <c:pt idx="1">
                  <c:v>4.140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50GR</c:v>
                </c:pt>
                <c:pt idx="1">
                  <c:v>250GR</c:v>
                </c:pt>
              </c:strCache>
            </c:strRef>
          </c:cat>
          <c:val>
            <c:numRef>
              <c:f>Sheet1!$B$2:$B$3</c:f>
              <c:numCache>
                <c:formatCode>General</c:formatCode>
                <c:ptCount val="2"/>
                <c:pt idx="0">
                  <c:v>0.588575</c:v>
                </c:pt>
                <c:pt idx="1">
                  <c:v>0.71490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a:t>
                    </a:r>
                  </a:p>
                </c:rich>
              </c:tx>
              <c:dLblPos val="t"/>
              <c:showLegendKey val="0"/>
              <c:showVal val="1"/>
              <c:showCatName val="0"/>
              <c:showSerName val="0"/>
              <c:showPercent val="0"/>
              <c:showBubbleSize val="0"/>
            </c:dLbl>
            <c:dLbl>
              <c:idx val="1"/>
              <c:tx>
                <c:rich>
                  <a:bodyPr/>
                  <a:lstStyle/>
                  <a:p>
                    <a:r>
                      <a:t>3.5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50GR</c:v>
                </c:pt>
                <c:pt idx="1">
                  <c:v>250GR</c:v>
                </c:pt>
              </c:strCache>
            </c:strRef>
          </c:cat>
          <c:val>
            <c:numRef>
              <c:f>Sheet1!$C$2:$C$3</c:f>
              <c:numCache>
                <c:formatCode>General</c:formatCode>
                <c:ptCount val="2"/>
                <c:pt idx="0">
                  <c:v>2.205</c:v>
                </c:pt>
                <c:pt idx="1">
                  <c:v>3.530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50GR</c:v>
                </c:pt>
                <c:pt idx="1">
                  <c:v>250GR</c:v>
                </c:pt>
              </c:strCache>
            </c:strRef>
          </c:cat>
          <c:val>
            <c:numRef>
              <c:f>Sheet1!$D$2:$D$3</c:f>
              <c:numCache>
                <c:formatCode>General</c:formatCode>
                <c:ptCount val="2"/>
                <c:pt idx="0">
                  <c:v>2.205</c:v>
                </c:pt>
                <c:pt idx="1">
                  <c:v>3.675000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50GR</c:v>
                </c:pt>
                <c:pt idx="1">
                  <c:v>250GR</c:v>
                </c:pt>
              </c:strCache>
            </c:strRef>
          </c:cat>
          <c:val>
            <c:numRef>
              <c:f>Sheet1!$E$2:$E$3</c:f>
              <c:numCache>
                <c:formatCode>General</c:formatCode>
                <c:ptCount val="2"/>
                <c:pt idx="0">
                  <c:v>2.205</c:v>
                </c:pt>
                <c:pt idx="1">
                  <c:v>3.6026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688562</c:v>
                </c:pt>
                <c:pt idx="1">
                  <c:v>0.1622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1</a:t>
                    </a:r>
                  </a:p>
                </c:rich>
              </c:tx>
              <c:dLblPos val="t"/>
              <c:showLegendKey val="0"/>
              <c:showVal val="1"/>
              <c:showCatName val="0"/>
              <c:showSerName val="0"/>
              <c:showPercent val="0"/>
              <c:showBubbleSize val="0"/>
            </c:dLbl>
            <c:dLbl>
              <c:idx val="1"/>
              <c:tx>
                <c:rich>
                  <a:bodyPr/>
                  <a:lstStyle/>
                  <a:p>
                    <a:r>
                      <a:t>3.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094</c:v>
                </c:pt>
                <c:pt idx="1">
                  <c:v>3.927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094</c:v>
                </c:pt>
                <c:pt idx="1">
                  <c:v>4.015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094</c:v>
                </c:pt>
                <c:pt idx="1">
                  <c:v>3.9713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1.064355</c:v>
                </c:pt>
                <c:pt idx="1">
                  <c:v>0.09117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9</a:t>
                    </a:r>
                  </a:p>
                </c:rich>
              </c:tx>
              <c:dLblPos val="t"/>
              <c:showLegendKey val="0"/>
              <c:showVal val="1"/>
              <c:showCatName val="0"/>
              <c:showSerName val="0"/>
              <c:showPercent val="0"/>
              <c:showBubbleSize val="0"/>
            </c:dLbl>
            <c:dLbl>
              <c:idx val="1"/>
              <c:tx>
                <c:rich>
                  <a:bodyPr/>
                  <a:lstStyle/>
                  <a:p>
                    <a:r>
                      <a:t>3.8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876</c:v>
                </c:pt>
                <c:pt idx="1">
                  <c:v>3.894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875999999999999</c:v>
                </c:pt>
                <c:pt idx="1">
                  <c:v>5.9586666666666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875999999999999</c:v>
                </c:pt>
                <c:pt idx="1">
                  <c:v>4.92658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1.365661</c:v>
                </c:pt>
                <c:pt idx="1">
                  <c:v>0.17184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6</a:t>
                    </a:r>
                  </a:p>
                </c:rich>
              </c:tx>
              <c:dLblPos val="t"/>
              <c:showLegendKey val="0"/>
              <c:showVal val="1"/>
              <c:showCatName val="0"/>
              <c:showSerName val="0"/>
              <c:showPercent val="0"/>
              <c:showBubbleSize val="0"/>
            </c:dLbl>
            <c:dLbl>
              <c:idx val="1"/>
              <c:tx>
                <c:rich>
                  <a:bodyPr/>
                  <a:lstStyle/>
                  <a:p>
                    <a:r>
                      <a:t>2.9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587</c:v>
                </c:pt>
                <c:pt idx="1">
                  <c:v>2.968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587</c:v>
                </c:pt>
                <c:pt idx="1">
                  <c:v>4.13061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587</c:v>
                </c:pt>
                <c:pt idx="1">
                  <c:v>3.549407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4.480874</c:v>
                </c:pt>
                <c:pt idx="1">
                  <c:v>7.830519</c:v>
                </c:pt>
                <c:pt idx="2">
                  <c:v>6.99636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5</a:t>
                    </a:r>
                  </a:p>
                </c:rich>
              </c:tx>
              <c:dLblPos val="t"/>
              <c:showLegendKey val="0"/>
              <c:showVal val="1"/>
              <c:showCatName val="0"/>
              <c:showSerName val="0"/>
              <c:showPercent val="0"/>
              <c:showBubbleSize val="0"/>
            </c:dLbl>
            <c:dLbl>
              <c:idx val="1"/>
              <c:tx>
                <c:rich>
                  <a:bodyPr/>
                  <a:lstStyle/>
                  <a:p>
                    <a:r>
                      <a:t>2.92</a:t>
                    </a:r>
                  </a:p>
                </c:rich>
              </c:tx>
              <c:dLblPos val="t"/>
              <c:showLegendKey val="0"/>
              <c:showVal val="1"/>
              <c:showCatName val="0"/>
              <c:showSerName val="0"/>
              <c:showPercent val="0"/>
              <c:showBubbleSize val="0"/>
            </c:dLbl>
            <c:dLbl>
              <c:idx val="2"/>
              <c:tx>
                <c:rich>
                  <a:bodyPr/>
                  <a:lstStyle/>
                  <a:p>
                    <a:r>
                      <a:t>4.9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526</c:v>
                </c:pt>
                <c:pt idx="1">
                  <c:v>2.9186</c:v>
                </c:pt>
                <c:pt idx="2">
                  <c:v>4.9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457333333333335</c:v>
                </c:pt>
                <c:pt idx="1">
                  <c:v>2.9186</c:v>
                </c:pt>
                <c:pt idx="2">
                  <c:v>5.837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99166666666667</c:v>
                </c:pt>
                <c:pt idx="1">
                  <c:v>2.9186</c:v>
                </c:pt>
                <c:pt idx="2">
                  <c:v>5.408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836433</c:v>
                </c:pt>
                <c:pt idx="1">
                  <c:v>0.4031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5</a:t>
                    </a:r>
                  </a:p>
                </c:rich>
              </c:tx>
              <c:dLblPos val="t"/>
              <c:showLegendKey val="0"/>
              <c:showVal val="1"/>
              <c:showCatName val="0"/>
              <c:showSerName val="0"/>
              <c:showPercent val="0"/>
              <c:showBubbleSize val="0"/>
            </c:dLbl>
            <c:dLbl>
              <c:idx val="1"/>
              <c:tx>
                <c:rich>
                  <a:bodyPr/>
                  <a:lstStyle/>
                  <a:p>
                    <a:r>
                      <a:t>3.3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3489</c:v>
                </c:pt>
                <c:pt idx="1">
                  <c:v>3.330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3489</c:v>
                </c:pt>
                <c:pt idx="1">
                  <c:v>3.9461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3489</c:v>
                </c:pt>
                <c:pt idx="1">
                  <c:v>3.63837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4.245183</c:v>
                </c:pt>
                <c:pt idx="1">
                  <c:v>3.626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6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6</c:v>
                </c:pt>
                <c:pt idx="1">
                  <c:v>3.618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6</c:v>
                </c:pt>
                <c:pt idx="1">
                  <c:v>3.86816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6</c:v>
                </c:pt>
                <c:pt idx="1">
                  <c:v>3.7434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8.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881468</c:v>
                </c:pt>
                <c:pt idx="1">
                  <c:v>2.24082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9</a:t>
                    </a:r>
                  </a:p>
                </c:rich>
              </c:tx>
              <c:dLblPos val="t"/>
              <c:showLegendKey val="0"/>
              <c:showVal val="1"/>
              <c:showCatName val="0"/>
              <c:showSerName val="0"/>
              <c:showPercent val="0"/>
              <c:showBubbleSize val="0"/>
            </c:dLbl>
            <c:dLbl>
              <c:idx val="1"/>
              <c:tx>
                <c:rich>
                  <a:bodyPr/>
                  <a:lstStyle/>
                  <a:p>
                    <a:r>
                      <a:t>4.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945</c:v>
                </c:pt>
                <c:pt idx="1">
                  <c:v>4.652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0945</c:v>
                </c:pt>
                <c:pt idx="1">
                  <c:v>5.45933333333333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0945</c:v>
                </c:pt>
                <c:pt idx="1">
                  <c:v>5.0558166666666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0.353128</c:v>
                </c:pt>
                <c:pt idx="1">
                  <c:v>1.50707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1</a:t>
                    </a:r>
                  </a:p>
                </c:rich>
              </c:tx>
              <c:dLblPos val="t"/>
              <c:showLegendKey val="0"/>
              <c:showVal val="1"/>
              <c:showCatName val="0"/>
              <c:showSerName val="0"/>
              <c:showPercent val="0"/>
              <c:showBubbleSize val="0"/>
            </c:dLbl>
            <c:dLbl>
              <c:idx val="1"/>
              <c:tx>
                <c:rich>
                  <a:bodyPr/>
                  <a:lstStyle/>
                  <a:p>
                    <a:r>
                      <a:t>2.7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06</c:v>
                </c:pt>
                <c:pt idx="1">
                  <c:v>2.78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8549333333333333</c:v>
                </c:pt>
                <c:pt idx="1">
                  <c:v>2.782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304666666666666</c:v>
                </c:pt>
                <c:pt idx="1">
                  <c:v>2.78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994285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73177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882925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2365497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5262191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40554110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0610882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507001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855028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1304475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574463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1821354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973574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8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5657731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904200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6373476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9836838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9524206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725812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748601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775827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2821894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3721291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044781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39805040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8/2025</a:t>
            </a:fld>
            <a:endParaRPr lang="en-US" sz="500"/>
          </a:p>
        </p:txBody>
      </p:sp>
    </p:spTree>
    <p:extLst>
      <p:ext uri="{BB962C8B-B14F-4D97-AF65-F5344CB8AC3E}">
        <p14:creationId xmlns:p14="http://schemas.microsoft.com/office/powerpoint/2010/main" val="124828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4187</Words>
  <Application>Microsoft Office PowerPoint</Application>
  <PresentationFormat>On-screen Show (16:9)</PresentationFormat>
  <Paragraphs>2107</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4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